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53" r:id="rId1"/>
    <p:sldMasterId id="2147483770" r:id="rId2"/>
  </p:sldMasterIdLst>
  <p:notesMasterIdLst>
    <p:notesMasterId r:id="rId7"/>
  </p:notesMasterIdLst>
  <p:sldIdLst>
    <p:sldId id="1919" r:id="rId3"/>
    <p:sldId id="1920" r:id="rId4"/>
    <p:sldId id="1857" r:id="rId5"/>
    <p:sldId id="1858" r:id="rId6"/>
  </p:sldIdLst>
  <p:sldSz cx="18288000" cy="10287000"/>
  <p:notesSz cx="6858000" cy="9144000"/>
  <p:embeddedFontLst>
    <p:embeddedFont>
      <p:font typeface="Bebas Neue" panose="020B0606020202050201" pitchFamily="34" charset="0"/>
      <p:regular r:id="rId8"/>
    </p:embeddedFont>
    <p:embeddedFont>
      <p:font typeface="Titillium Web Bold" panose="00000800000000000000" charset="0"/>
      <p:regular r:id="rId9"/>
      <p:bold r:id="rId10"/>
    </p:embeddedFont>
  </p:embeddedFontLst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E6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80152" autoAdjust="0"/>
  </p:normalViewPr>
  <p:slideViewPr>
    <p:cSldViewPr>
      <p:cViewPr varScale="1">
        <p:scale>
          <a:sx n="57" d="100"/>
          <a:sy n="57" d="100"/>
        </p:scale>
        <p:origin x="1476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font" Target="fonts/font3.fntdata"/><Relationship Id="rId4" Type="http://schemas.openxmlformats.org/officeDocument/2006/relationships/slide" Target="slides/slide2.xml"/><Relationship Id="rId9" Type="http://schemas.openxmlformats.org/officeDocument/2006/relationships/font" Target="fonts/font2.fntdata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esh Chugani" userId="9c759398cfaae00f" providerId="LiveId" clId="{F17DEA3C-5FC1-437C-9009-81AACE2AE760}"/>
    <pc:docChg chg="delSld modSld delMainMaster">
      <pc:chgData name="Vikesh Chugani" userId="9c759398cfaae00f" providerId="LiveId" clId="{F17DEA3C-5FC1-437C-9009-81AACE2AE760}" dt="2024-08-26T15:36:17.411" v="15" actId="20577"/>
      <pc:docMkLst>
        <pc:docMk/>
      </pc:docMkLst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0" sldId="256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754354854" sldId="377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527962549" sldId="383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3506657786" sldId="406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208242530" sldId="430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949735749" sldId="431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705545757" sldId="436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919046105" sldId="437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272160147" sldId="445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885496752" sldId="474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962720674" sldId="520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32353031" sldId="547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363970311" sldId="1472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042541821" sldId="1652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4204641025" sldId="1768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190620453" sldId="1819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629802703" sldId="1825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3793681604" sldId="1827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942010989" sldId="1829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427085251" sldId="1830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406811602" sldId="1831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035558656" sldId="1848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4163091949" sldId="1854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325938766" sldId="1855"/>
        </pc:sldMkLst>
      </pc:sldChg>
      <pc:sldChg chg="modNotesTx">
        <pc:chgData name="Vikesh Chugani" userId="9c759398cfaae00f" providerId="LiveId" clId="{F17DEA3C-5FC1-437C-9009-81AACE2AE760}" dt="2024-08-26T15:36:17.411" v="15" actId="20577"/>
        <pc:sldMkLst>
          <pc:docMk/>
          <pc:sldMk cId="4189467953" sldId="1858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4163038130" sldId="1882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772530871" sldId="1886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188383503" sldId="1888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717876491" sldId="1890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017138224" sldId="1892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821538331" sldId="1893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485772295" sldId="1898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681706587" sldId="1900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889919238" sldId="1904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83805420" sldId="1905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647188042" sldId="1906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3282249227" sldId="1907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1440722758" sldId="1908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884897252" sldId="1909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3365402031" sldId="1911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815284837" sldId="1912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3582559601" sldId="1914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059764473" sldId="1915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2521280247" sldId="1916"/>
        </pc:sldMkLst>
      </pc:sldChg>
      <pc:sldChg chg="del">
        <pc:chgData name="Vikesh Chugani" userId="9c759398cfaae00f" providerId="LiveId" clId="{F17DEA3C-5FC1-437C-9009-81AACE2AE760}" dt="2024-08-26T15:36:03.729" v="0" actId="47"/>
        <pc:sldMkLst>
          <pc:docMk/>
          <pc:sldMk cId="3237365783" sldId="1918"/>
        </pc:sldMkLst>
      </pc:sldChg>
      <pc:sldChg chg="modSp mod modNotesTx">
        <pc:chgData name="Vikesh Chugani" userId="9c759398cfaae00f" providerId="LiveId" clId="{F17DEA3C-5FC1-437C-9009-81AACE2AE760}" dt="2024-08-26T15:36:12.925" v="14" actId="20577"/>
        <pc:sldMkLst>
          <pc:docMk/>
          <pc:sldMk cId="4210637564" sldId="1919"/>
        </pc:sldMkLst>
        <pc:spChg chg="mod">
          <ac:chgData name="Vikesh Chugani" userId="9c759398cfaae00f" providerId="LiveId" clId="{F17DEA3C-5FC1-437C-9009-81AACE2AE760}" dt="2024-08-26T15:36:09.612" v="13" actId="20577"/>
          <ac:spMkLst>
            <pc:docMk/>
            <pc:sldMk cId="4210637564" sldId="1919"/>
            <ac:spMk id="9" creationId="{798F5ABF-7D4F-940B-BE3B-7C6C23E76C8D}"/>
          </ac:spMkLst>
        </pc:spChg>
      </pc:sldChg>
      <pc:sldMasterChg chg="del delSldLayout">
        <pc:chgData name="Vikesh Chugani" userId="9c759398cfaae00f" providerId="LiveId" clId="{F17DEA3C-5FC1-437C-9009-81AACE2AE760}" dt="2024-08-26T15:36:03.729" v="0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49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0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1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2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3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4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5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6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7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8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0" sldId="2147483659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2135466723" sldId="2147483660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1273481766" sldId="2147483662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0" sldId="2147483648"/>
            <pc:sldLayoutMk cId="3337062450" sldId="2147483663"/>
          </pc:sldLayoutMkLst>
        </pc:sldLayoutChg>
      </pc:sldMasterChg>
      <pc:sldMasterChg chg="del delSldLayout">
        <pc:chgData name="Vikesh Chugani" userId="9c759398cfaae00f" providerId="LiveId" clId="{F17DEA3C-5FC1-437C-9009-81AACE2AE760}" dt="2024-08-26T15:36:03.729" v="0" actId="47"/>
        <pc:sldMasterMkLst>
          <pc:docMk/>
          <pc:sldMasterMk cId="3935349751" sldId="2147483680"/>
        </pc:sldMasterMkLst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2352870600" sldId="2147483681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1480055064" sldId="2147483682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964900193" sldId="2147483683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1566054624" sldId="2147483684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1139258168" sldId="2147483685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1821965377" sldId="2147483686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2465321791" sldId="2147483687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3743186639" sldId="2147483688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1128429530" sldId="2147483689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3405606156" sldId="2147483690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1371882426" sldId="2147483691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2297409868" sldId="2147483692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893437695" sldId="2147483693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2809455781" sldId="2147483694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548180707" sldId="2147483695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2644151371" sldId="2147483696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981689385" sldId="2147483697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2209697579" sldId="2147483698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620837306" sldId="2147483699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3054425218" sldId="2147483700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3372393434" sldId="2147483701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935349751" sldId="2147483680"/>
            <pc:sldLayoutMk cId="741991437" sldId="2147483786"/>
          </pc:sldLayoutMkLst>
        </pc:sldLayoutChg>
      </pc:sldMasterChg>
      <pc:sldMasterChg chg="del delSldLayout">
        <pc:chgData name="Vikesh Chugani" userId="9c759398cfaae00f" providerId="LiveId" clId="{F17DEA3C-5FC1-437C-9009-81AACE2AE760}" dt="2024-08-26T15:36:03.729" v="0" actId="47"/>
        <pc:sldMasterMkLst>
          <pc:docMk/>
          <pc:sldMasterMk cId="3075907825" sldId="2147483702"/>
        </pc:sldMasterMkLst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1011871807" sldId="2147483703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1347583845" sldId="2147483704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2874673133" sldId="2147483705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3612991158" sldId="2147483706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2259269607" sldId="2147483707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2507021169" sldId="2147483708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3647591092" sldId="2147483709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2668089661" sldId="2147483710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255719272" sldId="2147483711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180007133" sldId="2147483712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414712647" sldId="2147483713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2522514759" sldId="2147483714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1222917550" sldId="2147483715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549502026" sldId="2147483716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2139078769" sldId="2147483717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3075907825" sldId="2147483702"/>
            <pc:sldLayoutMk cId="4073762933" sldId="2147483718"/>
          </pc:sldLayoutMkLst>
        </pc:sldLayoutChg>
      </pc:sldMasterChg>
      <pc:sldMasterChg chg="del delSldLayout">
        <pc:chgData name="Vikesh Chugani" userId="9c759398cfaae00f" providerId="LiveId" clId="{F17DEA3C-5FC1-437C-9009-81AACE2AE760}" dt="2024-08-26T15:36:03.729" v="0" actId="47"/>
        <pc:sldMasterMkLst>
          <pc:docMk/>
          <pc:sldMasterMk cId="1831994636" sldId="2147483719"/>
        </pc:sldMasterMkLst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3357688955" sldId="2147483720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1983086274" sldId="2147483721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3733324322" sldId="2147483722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1660303526" sldId="2147483723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2456771622" sldId="2147483724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555926659" sldId="2147483725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1635127571" sldId="2147483726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304642676" sldId="2147483727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3550626476" sldId="2147483728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116831462" sldId="2147483729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3201082485" sldId="2147483730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497833071" sldId="2147483731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1442669704" sldId="2147483732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3643271523" sldId="2147483733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689664876" sldId="2147483734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1831994636" sldId="2147483719"/>
            <pc:sldLayoutMk cId="1820530042" sldId="2147483735"/>
          </pc:sldLayoutMkLst>
        </pc:sldLayoutChg>
      </pc:sldMasterChg>
      <pc:sldMasterChg chg="del delSldLayout">
        <pc:chgData name="Vikesh Chugani" userId="9c759398cfaae00f" providerId="LiveId" clId="{F17DEA3C-5FC1-437C-9009-81AACE2AE760}" dt="2024-08-26T15:36:03.729" v="0" actId="47"/>
        <pc:sldMasterMkLst>
          <pc:docMk/>
          <pc:sldMasterMk cId="2143739592" sldId="2147483736"/>
        </pc:sldMasterMkLst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317608737" sldId="2147483737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2185018270" sldId="2147483738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848429063" sldId="2147483739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23491011" sldId="2147483740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1707437477" sldId="2147483741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4115019894" sldId="2147483742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2851199305" sldId="2147483743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2517861477" sldId="2147483744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2409847318" sldId="2147483745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2089876123" sldId="2147483746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536469137" sldId="2147483747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1777211992" sldId="2147483748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2853332026" sldId="2147483749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3130571350" sldId="2147483750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630496958" sldId="2147483751"/>
          </pc:sldLayoutMkLst>
        </pc:sldLayoutChg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2143739592" sldId="2147483736"/>
            <pc:sldLayoutMk cId="2168244376" sldId="2147483752"/>
          </pc:sldLayoutMkLst>
        </pc:sldLayoutChg>
      </pc:sldMasterChg>
      <pc:sldMasterChg chg="delSldLayout">
        <pc:chgData name="Vikesh Chugani" userId="9c759398cfaae00f" providerId="LiveId" clId="{F17DEA3C-5FC1-437C-9009-81AACE2AE760}" dt="2024-08-26T15:36:03.729" v="0" actId="47"/>
        <pc:sldMasterMkLst>
          <pc:docMk/>
          <pc:sldMasterMk cId="740412119" sldId="2147483753"/>
        </pc:sldMasterMkLst>
        <pc:sldLayoutChg chg="del">
          <pc:chgData name="Vikesh Chugani" userId="9c759398cfaae00f" providerId="LiveId" clId="{F17DEA3C-5FC1-437C-9009-81AACE2AE760}" dt="2024-08-26T15:36:03.729" v="0" actId="47"/>
          <pc:sldLayoutMkLst>
            <pc:docMk/>
            <pc:sldMasterMk cId="740412119" sldId="2147483753"/>
            <pc:sldLayoutMk cId="599692115" sldId="214748376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A65A61-6C11-4F98-934B-0780FDB920F2}" type="datetimeFigureOut">
              <a:rPr lang="en-GB" smtClean="0"/>
              <a:t>26/08/2024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911D2A-5ADF-482B-B5D1-D913F49D011C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367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F57FF-C19F-4C13-8D33-E3160A304BC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263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0460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6CAD1-FD47-46B0-9C16-1B81F4E690E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1684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911D2A-5ADF-482B-B5D1-D913F49D011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1946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jpeg"/><Relationship Id="rId5" Type="http://schemas.openxmlformats.org/officeDocument/2006/relationships/image" Target="../media/image6.jp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9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8.jp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4491099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98"/>
          <a:stretch/>
        </p:blipFill>
        <p:spPr>
          <a:xfrm>
            <a:off x="3" y="3415707"/>
            <a:ext cx="18287998" cy="6869434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223120" y="4171395"/>
            <a:ext cx="15841761" cy="2462062"/>
          </a:xfrm>
        </p:spPr>
        <p:txBody>
          <a:bodyPr anchor="b" anchorCtr="0">
            <a:normAutofit/>
          </a:bodyPr>
          <a:lstStyle>
            <a:lvl1pPr marL="0" indent="0" rtl="0">
              <a:lnSpc>
                <a:spcPts val="6248"/>
              </a:lnSpc>
              <a:buFontTx/>
              <a:buNone/>
              <a:defRPr sz="7499" b="1" spc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816213" indent="0">
              <a:buFontTx/>
              <a:buNone/>
              <a:defRPr/>
            </a:lvl2pPr>
            <a:lvl3pPr marL="1632426" indent="0">
              <a:buFontTx/>
              <a:buNone/>
              <a:defRPr/>
            </a:lvl3pPr>
            <a:lvl4pPr marL="2448640" indent="0">
              <a:buFontTx/>
              <a:buNone/>
              <a:defRPr/>
            </a:lvl4pPr>
            <a:lvl5pPr marL="3264853" indent="0">
              <a:buFontTx/>
              <a:buNone/>
              <a:defRPr/>
            </a:lvl5pPr>
          </a:lstStyle>
          <a:p>
            <a:pPr lvl="0"/>
            <a:r>
              <a:rPr lang="en-GB" dirty="0"/>
              <a:t>Headline der </a:t>
            </a:r>
            <a:r>
              <a:rPr lang="en-GB" dirty="0" err="1"/>
              <a:t>Präsentation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223126" y="6736262"/>
            <a:ext cx="15841758" cy="754931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3449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err="1"/>
              <a:t>Autor</a:t>
            </a:r>
            <a:r>
              <a:rPr lang="en-GB" dirty="0"/>
              <a:t>, Datum</a:t>
            </a:r>
          </a:p>
        </p:txBody>
      </p:sp>
    </p:spTree>
    <p:extLst>
      <p:ext uri="{BB962C8B-B14F-4D97-AF65-F5344CB8AC3E}">
        <p14:creationId xmlns:p14="http://schemas.microsoft.com/office/powerpoint/2010/main" val="374465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067205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-1" y="8815058"/>
            <a:ext cx="18288000" cy="1471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699" dirty="0">
              <a:solidFill>
                <a:schemeClr val="bg1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1556978"/>
            <a:ext cx="18288000" cy="8730023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GB" dirty="0" err="1"/>
              <a:t>Bild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ganze</a:t>
            </a:r>
            <a:r>
              <a:rPr lang="en-GB" dirty="0"/>
              <a:t> </a:t>
            </a:r>
            <a:r>
              <a:rPr lang="en-GB" dirty="0" err="1"/>
              <a:t>Breite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10764651" y="5680348"/>
            <a:ext cx="6696947" cy="3780550"/>
          </a:xfrm>
          <a:prstGeom prst="round2DiagRect">
            <a:avLst>
              <a:gd name="adj1" fmla="val 13513"/>
              <a:gd name="adj2" fmla="val 0"/>
            </a:avLst>
          </a:prstGeom>
          <a:solidFill>
            <a:schemeClr val="accent2"/>
          </a:solidFill>
        </p:spPr>
        <p:txBody>
          <a:bodyPr/>
          <a:lstStyle>
            <a:lvl1pPr marL="514247" indent="-514247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marL="1074708" indent="-428539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 marL="1550832" indent="-428539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2026956" indent="-428539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4pPr>
            <a:lvl5pPr marL="2503080" indent="-428539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289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Bild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8439629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790576" y="2700001"/>
            <a:ext cx="8136000" cy="621000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9360000" y="2700001"/>
            <a:ext cx="8101598" cy="6210001"/>
          </a:xfrm>
        </p:spPr>
        <p:txBody>
          <a:bodyPr>
            <a:normAutofit/>
          </a:bodyPr>
          <a:lstStyle>
            <a:lvl1pPr marL="449882" indent="-449882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BCDCC0B3-CEC5-4577-B403-5DB9A40319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</p:spTree>
    <p:extLst>
      <p:ext uri="{BB962C8B-B14F-4D97-AF65-F5344CB8AC3E}">
        <p14:creationId xmlns:p14="http://schemas.microsoft.com/office/powerpoint/2010/main" val="244842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(Bild/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918076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800204" y="2875773"/>
            <a:ext cx="5211039" cy="2699375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5" name="Bildplatzhalter 3"/>
          <p:cNvSpPr>
            <a:spLocks noGrp="1"/>
          </p:cNvSpPr>
          <p:nvPr>
            <p:ph type="pic" sz="quarter" idx="16"/>
          </p:nvPr>
        </p:nvSpPr>
        <p:spPr>
          <a:xfrm>
            <a:off x="6525382" y="2875773"/>
            <a:ext cx="5211039" cy="2699375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3" name="Bildplatzhalter 3"/>
          <p:cNvSpPr>
            <a:spLocks noGrp="1"/>
          </p:cNvSpPr>
          <p:nvPr>
            <p:ph type="pic" sz="quarter" idx="17"/>
          </p:nvPr>
        </p:nvSpPr>
        <p:spPr>
          <a:xfrm>
            <a:off x="12250559" y="2875773"/>
            <a:ext cx="5211039" cy="2699375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800204" y="5683435"/>
            <a:ext cx="5211678" cy="3347597"/>
          </a:xfrm>
        </p:spPr>
        <p:txBody>
          <a:bodyPr>
            <a:normAutofit/>
          </a:bodyPr>
          <a:lstStyle>
            <a:lvl1pPr marL="449882" indent="-449882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6525062" y="5683435"/>
            <a:ext cx="5211678" cy="3347597"/>
          </a:xfrm>
        </p:spPr>
        <p:txBody>
          <a:bodyPr>
            <a:normAutofit/>
          </a:bodyPr>
          <a:lstStyle>
            <a:lvl1pPr marL="449882" indent="-449882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12249920" y="5683435"/>
            <a:ext cx="5211678" cy="3347597"/>
          </a:xfrm>
        </p:spPr>
        <p:txBody>
          <a:bodyPr>
            <a:normAutofit/>
          </a:bodyPr>
          <a:lstStyle>
            <a:lvl1pPr marL="449882" indent="-449882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D87AD2DF-7C56-49EE-83F7-202DDA5C16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</p:spTree>
    <p:extLst>
      <p:ext uri="{BB962C8B-B14F-4D97-AF65-F5344CB8AC3E}">
        <p14:creationId xmlns:p14="http://schemas.microsoft.com/office/powerpoint/2010/main" val="1524763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076157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790576" y="2700001"/>
            <a:ext cx="16671022" cy="621000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6900BB5A-A141-48A8-8142-4FDDA5CDA5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</p:spTree>
    <p:extLst>
      <p:ext uri="{BB962C8B-B14F-4D97-AF65-F5344CB8AC3E}">
        <p14:creationId xmlns:p14="http://schemas.microsoft.com/office/powerpoint/2010/main" val="208842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3376152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800204" y="2983760"/>
            <a:ext cx="3915510" cy="3914094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16"/>
          </p:nvPr>
        </p:nvSpPr>
        <p:spPr>
          <a:xfrm>
            <a:off x="5048832" y="2983760"/>
            <a:ext cx="3915510" cy="3914094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7"/>
          </p:nvPr>
        </p:nvSpPr>
        <p:spPr>
          <a:xfrm>
            <a:off x="9297460" y="2983760"/>
            <a:ext cx="3915510" cy="3914094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18"/>
          </p:nvPr>
        </p:nvSpPr>
        <p:spPr>
          <a:xfrm>
            <a:off x="13546088" y="2983760"/>
            <a:ext cx="3915510" cy="3914094"/>
          </a:xfrm>
          <a:prstGeom prst="round2DiagRect">
            <a:avLst>
              <a:gd name="adj1" fmla="val 9368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00204" y="6979279"/>
            <a:ext cx="3914727" cy="1849033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0">
                <a:latin typeface="+mn-lt"/>
              </a:defRPr>
            </a:lvl1pPr>
            <a:lvl2pPr marL="47612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2pPr>
            <a:lvl3pPr marL="799208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3pPr>
            <a:lvl4pPr marL="112229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4pPr>
            <a:lvl5pPr marL="1445376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5pPr>
          </a:lstStyle>
          <a:p>
            <a:pPr lvl="0"/>
            <a:r>
              <a:rPr lang="en-GB" dirty="0" err="1"/>
              <a:t>Vor</a:t>
            </a:r>
            <a:r>
              <a:rPr lang="en-GB" dirty="0"/>
              <a:t>- und </a:t>
            </a:r>
            <a:r>
              <a:rPr lang="en-GB" dirty="0" err="1"/>
              <a:t>Nachname</a:t>
            </a:r>
            <a:endParaRPr lang="en-GB" dirty="0"/>
          </a:p>
          <a:p>
            <a:pPr lvl="0"/>
            <a:r>
              <a:rPr lang="en-GB" dirty="0"/>
              <a:t>Position</a:t>
            </a:r>
          </a:p>
          <a:p>
            <a:pPr lvl="0"/>
            <a:r>
              <a:rPr lang="en-GB" dirty="0"/>
              <a:t>E-Mail</a:t>
            </a:r>
            <a:br>
              <a:rPr lang="en-GB" dirty="0"/>
            </a:br>
            <a:endParaRPr lang="en-GB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049093" y="6979279"/>
            <a:ext cx="3914727" cy="1849033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0">
                <a:latin typeface="+mn-lt"/>
              </a:defRPr>
            </a:lvl1pPr>
            <a:lvl2pPr marL="47612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2pPr>
            <a:lvl3pPr marL="799208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3pPr>
            <a:lvl4pPr marL="112229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4pPr>
            <a:lvl5pPr marL="1445376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5pPr>
          </a:lstStyle>
          <a:p>
            <a:pPr lvl="0"/>
            <a:r>
              <a:rPr lang="en-GB" dirty="0" err="1"/>
              <a:t>Vor</a:t>
            </a:r>
            <a:r>
              <a:rPr lang="en-GB" dirty="0"/>
              <a:t>- und </a:t>
            </a:r>
            <a:r>
              <a:rPr lang="en-GB" dirty="0" err="1"/>
              <a:t>Nachname</a:t>
            </a:r>
            <a:endParaRPr lang="en-GB" dirty="0"/>
          </a:p>
          <a:p>
            <a:pPr lvl="0"/>
            <a:r>
              <a:rPr lang="en-GB" dirty="0"/>
              <a:t>Position</a:t>
            </a:r>
          </a:p>
          <a:p>
            <a:pPr lvl="0"/>
            <a:r>
              <a:rPr lang="en-GB" dirty="0"/>
              <a:t>E-Mail</a:t>
            </a:r>
            <a:br>
              <a:rPr lang="en-GB" dirty="0"/>
            </a:br>
            <a:endParaRPr lang="en-GB" dirty="0"/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297982" y="6979279"/>
            <a:ext cx="3914727" cy="1849033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0">
                <a:latin typeface="+mn-lt"/>
              </a:defRPr>
            </a:lvl1pPr>
            <a:lvl2pPr marL="47612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2pPr>
            <a:lvl3pPr marL="799208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3pPr>
            <a:lvl4pPr marL="112229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4pPr>
            <a:lvl5pPr marL="1445376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5pPr>
          </a:lstStyle>
          <a:p>
            <a:pPr lvl="0"/>
            <a:r>
              <a:rPr lang="en-GB" dirty="0" err="1"/>
              <a:t>Vor</a:t>
            </a:r>
            <a:r>
              <a:rPr lang="en-GB" dirty="0"/>
              <a:t>- und </a:t>
            </a:r>
            <a:r>
              <a:rPr lang="en-GB" dirty="0" err="1"/>
              <a:t>Nachname</a:t>
            </a:r>
            <a:endParaRPr lang="en-GB" dirty="0"/>
          </a:p>
          <a:p>
            <a:pPr lvl="0"/>
            <a:r>
              <a:rPr lang="en-GB" dirty="0"/>
              <a:t>Position</a:t>
            </a:r>
          </a:p>
          <a:p>
            <a:pPr lvl="0"/>
            <a:r>
              <a:rPr lang="en-GB" dirty="0"/>
              <a:t>E-Mail</a:t>
            </a:r>
            <a:br>
              <a:rPr lang="en-GB" dirty="0"/>
            </a:br>
            <a:endParaRPr lang="en-GB" dirty="0"/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3546871" y="6979279"/>
            <a:ext cx="3914727" cy="1849033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0">
                <a:latin typeface="+mn-lt"/>
              </a:defRPr>
            </a:lvl1pPr>
            <a:lvl2pPr marL="47612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2pPr>
            <a:lvl3pPr marL="799208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3pPr>
            <a:lvl4pPr marL="1122293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4pPr>
            <a:lvl5pPr marL="1445376" indent="0">
              <a:lnSpc>
                <a:spcPts val="4106"/>
              </a:lnSpc>
              <a:spcBef>
                <a:spcPts val="0"/>
              </a:spcBef>
              <a:buNone/>
              <a:defRPr sz="2699">
                <a:latin typeface="+mn-lt"/>
              </a:defRPr>
            </a:lvl5pPr>
          </a:lstStyle>
          <a:p>
            <a:pPr lvl="0"/>
            <a:r>
              <a:rPr lang="en-GB" dirty="0" err="1"/>
              <a:t>Vor</a:t>
            </a:r>
            <a:r>
              <a:rPr lang="en-GB" dirty="0"/>
              <a:t>- und </a:t>
            </a:r>
            <a:r>
              <a:rPr lang="en-GB" dirty="0" err="1"/>
              <a:t>Nachname</a:t>
            </a:r>
            <a:endParaRPr lang="en-GB" dirty="0"/>
          </a:p>
          <a:p>
            <a:pPr lvl="0"/>
            <a:r>
              <a:rPr lang="en-GB" dirty="0"/>
              <a:t>Position</a:t>
            </a:r>
          </a:p>
          <a:p>
            <a:pPr lvl="0"/>
            <a:r>
              <a:rPr lang="en-GB" dirty="0"/>
              <a:t>E-Mail</a:t>
            </a:r>
            <a:br>
              <a:rPr lang="en-GB" dirty="0"/>
            </a:br>
            <a:endParaRPr lang="en-GB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2A71EA00-671D-47DD-9444-5631E2E8BF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</p:spTree>
    <p:extLst>
      <p:ext uri="{BB962C8B-B14F-4D97-AF65-F5344CB8AC3E}">
        <p14:creationId xmlns:p14="http://schemas.microsoft.com/office/powerpoint/2010/main" val="188258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637439"/>
              </p:ext>
            </p:extLst>
          </p:nvPr>
        </p:nvGraphicFramePr>
        <p:xfrm>
          <a:off x="3178" y="2384"/>
          <a:ext cx="3174" cy="23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01" imgH="298" progId="TCLayout.ActiveDocument.1">
                  <p:embed/>
                </p:oleObj>
              </mc:Choice>
              <mc:Fallback>
                <p:oleObj name="Diapositiva de think-cell" r:id="rId3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8" y="2384"/>
                        <a:ext cx="3174" cy="23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703999" cy="62100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ts val="3449"/>
              </a:lnSpc>
              <a:spcBef>
                <a:spcPts val="0"/>
              </a:spcBef>
              <a:defRPr sz="2999">
                <a:latin typeface="+mn-lt"/>
              </a:defRPr>
            </a:lvl1pPr>
            <a:lvl2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2pPr>
            <a:lvl3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3pPr>
            <a:lvl4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4pPr>
            <a:lvl5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105"/>
            <a:ext cx="16703999" cy="486000"/>
          </a:xfrm>
        </p:spPr>
        <p:txBody>
          <a:bodyPr>
            <a:noAutofit/>
          </a:bodyPr>
          <a:lstStyle>
            <a:lvl1pPr marL="0" indent="0" algn="ctr">
              <a:lnSpc>
                <a:spcPts val="3449"/>
              </a:lnSpc>
              <a:spcBef>
                <a:spcPts val="0"/>
              </a:spcBef>
              <a:buNone/>
              <a:defRPr sz="2400" b="1" baseline="0">
                <a:latin typeface="+mn-lt"/>
              </a:defRPr>
            </a:lvl1pPr>
            <a:lvl2pPr marL="671513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2pPr>
            <a:lvl3pPr marL="942975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3pPr>
            <a:lvl4pPr marL="1214438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4pPr>
            <a:lvl5pPr marL="1485900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5pPr>
          </a:lstStyle>
          <a:p>
            <a:pPr lvl="0"/>
            <a:r>
              <a:rPr lang="de-DE" dirty="0"/>
              <a:t>Grafik, Datum</a:t>
            </a:r>
          </a:p>
        </p:txBody>
      </p:sp>
      <p:sp>
        <p:nvSpPr>
          <p:cNvPr id="11" name="Titel 7"/>
          <p:cNvSpPr>
            <a:spLocks noGrp="1"/>
          </p:cNvSpPr>
          <p:nvPr>
            <p:ph type="title" hasCustomPrompt="1"/>
          </p:nvPr>
        </p:nvSpPr>
        <p:spPr>
          <a:xfrm>
            <a:off x="790577" y="327496"/>
            <a:ext cx="14114064" cy="927573"/>
          </a:xfrm>
          <a:prstGeom prst="rect">
            <a:avLst/>
          </a:prstGeom>
        </p:spPr>
        <p:txBody>
          <a:bodyPr/>
          <a:lstStyle>
            <a:lvl1pPr>
              <a:defRPr sz="2999" baseline="0">
                <a:solidFill>
                  <a:srgbClr val="4B4B4B"/>
                </a:solidFill>
                <a:latin typeface="+mj-lt"/>
              </a:defRPr>
            </a:lvl1pPr>
          </a:lstStyle>
          <a:p>
            <a:r>
              <a:rPr lang="de-DE" dirty="0"/>
              <a:t>Überschrift 20p Calibri</a:t>
            </a:r>
          </a:p>
        </p:txBody>
      </p:sp>
    </p:spTree>
    <p:extLst>
      <p:ext uri="{BB962C8B-B14F-4D97-AF65-F5344CB8AC3E}">
        <p14:creationId xmlns:p14="http://schemas.microsoft.com/office/powerpoint/2010/main" val="106354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0279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480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8363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7442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965558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1865"/>
            <a:ext cx="18287994" cy="10283276"/>
          </a:xfrm>
          <a:prstGeom prst="rect">
            <a:avLst/>
          </a:prstGeom>
        </p:spPr>
      </p:pic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223120" y="3113489"/>
            <a:ext cx="15841761" cy="2462062"/>
          </a:xfrm>
        </p:spPr>
        <p:txBody>
          <a:bodyPr anchor="b" anchorCtr="0">
            <a:normAutofit/>
          </a:bodyPr>
          <a:lstStyle>
            <a:lvl1pPr marL="0" indent="0" algn="l" rtl="0">
              <a:lnSpc>
                <a:spcPts val="6248"/>
              </a:lnSpc>
              <a:buFontTx/>
              <a:buNone/>
              <a:defRPr sz="6299" b="1" spc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816213" indent="0">
              <a:buFontTx/>
              <a:buNone/>
              <a:defRPr/>
            </a:lvl2pPr>
            <a:lvl3pPr marL="1632426" indent="0">
              <a:buFontTx/>
              <a:buNone/>
              <a:defRPr/>
            </a:lvl3pPr>
            <a:lvl4pPr marL="2448640" indent="0">
              <a:buFontTx/>
              <a:buNone/>
              <a:defRPr/>
            </a:lvl4pPr>
            <a:lvl5pPr marL="3264853" indent="0">
              <a:buFontTx/>
              <a:buNone/>
              <a:defRPr/>
            </a:lvl5pPr>
          </a:lstStyle>
          <a:p>
            <a:pPr lvl="0"/>
            <a:r>
              <a:rPr lang="en-GB" dirty="0"/>
              <a:t>Headline der </a:t>
            </a:r>
            <a:r>
              <a:rPr lang="en-GB" dirty="0" err="1"/>
              <a:t>Präsentation</a:t>
            </a:r>
            <a:endParaRPr lang="en-GB" dirty="0"/>
          </a:p>
        </p:txBody>
      </p:sp>
      <p:sp>
        <p:nvSpPr>
          <p:cNvPr id="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223126" y="5575549"/>
            <a:ext cx="15841758" cy="2376264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3299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err="1"/>
              <a:t>Unterzeile</a:t>
            </a:r>
            <a:endParaRPr lang="en-GB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6886" y="271061"/>
            <a:ext cx="2326369" cy="107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412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0939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0026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9971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4145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837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3715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847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669597" cy="6210001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>
            <a:lvl1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FD9BD27-1F87-4142-ABA6-72E9C4A32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</p:spTree>
    <p:extLst>
      <p:ext uri="{BB962C8B-B14F-4D97-AF65-F5344CB8AC3E}">
        <p14:creationId xmlns:p14="http://schemas.microsoft.com/office/powerpoint/2010/main" val="400452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637439"/>
              </p:ext>
            </p:extLst>
          </p:nvPr>
        </p:nvGraphicFramePr>
        <p:xfrm>
          <a:off x="3178" y="2384"/>
          <a:ext cx="3174" cy="23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01" imgH="298" progId="TCLayout.ActiveDocument.1">
                  <p:embed/>
                </p:oleObj>
              </mc:Choice>
              <mc:Fallback>
                <p:oleObj name="Diapositiva de think-cell" r:id="rId3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8" y="2384"/>
                        <a:ext cx="3174" cy="23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703999" cy="62100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ts val="3449"/>
              </a:lnSpc>
              <a:spcBef>
                <a:spcPts val="0"/>
              </a:spcBef>
              <a:defRPr sz="2999">
                <a:latin typeface="+mn-lt"/>
              </a:defRPr>
            </a:lvl1pPr>
            <a:lvl2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2pPr>
            <a:lvl3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3pPr>
            <a:lvl4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4pPr>
            <a:lvl5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105"/>
            <a:ext cx="16703999" cy="486000"/>
          </a:xfrm>
        </p:spPr>
        <p:txBody>
          <a:bodyPr>
            <a:noAutofit/>
          </a:bodyPr>
          <a:lstStyle>
            <a:lvl1pPr marL="0" indent="0" algn="ctr">
              <a:lnSpc>
                <a:spcPts val="3449"/>
              </a:lnSpc>
              <a:spcBef>
                <a:spcPts val="0"/>
              </a:spcBef>
              <a:buNone/>
              <a:defRPr sz="2400" b="1" baseline="0">
                <a:latin typeface="+mn-lt"/>
              </a:defRPr>
            </a:lvl1pPr>
            <a:lvl2pPr marL="671513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2pPr>
            <a:lvl3pPr marL="942975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3pPr>
            <a:lvl4pPr marL="1214438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4pPr>
            <a:lvl5pPr marL="1485900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5pPr>
          </a:lstStyle>
          <a:p>
            <a:pPr lvl="0"/>
            <a:r>
              <a:rPr lang="de-DE" dirty="0"/>
              <a:t>Grafik, Datum</a:t>
            </a:r>
          </a:p>
        </p:txBody>
      </p:sp>
      <p:sp>
        <p:nvSpPr>
          <p:cNvPr id="11" name="Titel 7"/>
          <p:cNvSpPr>
            <a:spLocks noGrp="1"/>
          </p:cNvSpPr>
          <p:nvPr>
            <p:ph type="title" hasCustomPrompt="1"/>
          </p:nvPr>
        </p:nvSpPr>
        <p:spPr>
          <a:xfrm>
            <a:off x="790577" y="327496"/>
            <a:ext cx="14114064" cy="927573"/>
          </a:xfrm>
          <a:prstGeom prst="rect">
            <a:avLst/>
          </a:prstGeom>
        </p:spPr>
        <p:txBody>
          <a:bodyPr/>
          <a:lstStyle>
            <a:lvl1pPr>
              <a:defRPr sz="2999" baseline="0">
                <a:solidFill>
                  <a:srgbClr val="4B4B4B"/>
                </a:solidFill>
                <a:latin typeface="+mj-lt"/>
              </a:defRPr>
            </a:lvl1pPr>
          </a:lstStyle>
          <a:p>
            <a:r>
              <a:rPr lang="de-DE" dirty="0"/>
              <a:t>Überschrift 20p Calibri</a:t>
            </a:r>
          </a:p>
        </p:txBody>
      </p:sp>
    </p:spTree>
    <p:extLst>
      <p:ext uri="{BB962C8B-B14F-4D97-AF65-F5344CB8AC3E}">
        <p14:creationId xmlns:p14="http://schemas.microsoft.com/office/powerpoint/2010/main" val="248695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8" y="2384"/>
          <a:ext cx="3174" cy="23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8" y="2384"/>
                        <a:ext cx="3174" cy="23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703999" cy="62100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ts val="3449"/>
              </a:lnSpc>
              <a:spcBef>
                <a:spcPts val="0"/>
              </a:spcBef>
              <a:defRPr sz="2999">
                <a:latin typeface="+mn-lt"/>
              </a:defRPr>
            </a:lvl1pPr>
            <a:lvl2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2pPr>
            <a:lvl3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3pPr>
            <a:lvl4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4pPr>
            <a:lvl5pPr>
              <a:lnSpc>
                <a:spcPts val="3449"/>
              </a:lnSpc>
              <a:spcBef>
                <a:spcPts val="0"/>
              </a:spcBef>
              <a:defRPr sz="2699"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10"/>
          <p:cNvSpPr>
            <a:spLocks noGrp="1"/>
          </p:cNvSpPr>
          <p:nvPr>
            <p:ph type="ctrTitle" hasCustomPrompt="1"/>
          </p:nvPr>
        </p:nvSpPr>
        <p:spPr>
          <a:xfrm>
            <a:off x="792002" y="327494"/>
            <a:ext cx="13680591" cy="103558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ts val="4499"/>
              </a:lnSpc>
              <a:defRPr sz="2999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lnSpc>
                <a:spcPts val="3000"/>
              </a:lnSpc>
            </a:pPr>
            <a:r>
              <a:rPr lang="de-DE" sz="3599" dirty="0"/>
              <a:t>1-spaltige Überschrift</a:t>
            </a:r>
            <a:br>
              <a:rPr lang="de-DE" sz="3599" dirty="0"/>
            </a:br>
            <a:r>
              <a:rPr lang="de-DE" sz="3599" dirty="0"/>
              <a:t>2-spaltige Überschrift mit 24 </a:t>
            </a:r>
            <a:r>
              <a:rPr lang="de-DE" sz="3599" dirty="0" err="1"/>
              <a:t>pt</a:t>
            </a:r>
            <a:r>
              <a:rPr lang="de-DE" sz="3599" dirty="0"/>
              <a:t>.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105"/>
            <a:ext cx="16703999" cy="486000"/>
          </a:xfrm>
        </p:spPr>
        <p:txBody>
          <a:bodyPr>
            <a:noAutofit/>
          </a:bodyPr>
          <a:lstStyle>
            <a:lvl1pPr marL="0" indent="0" algn="ctr">
              <a:lnSpc>
                <a:spcPts val="3449"/>
              </a:lnSpc>
              <a:spcBef>
                <a:spcPts val="0"/>
              </a:spcBef>
              <a:buNone/>
              <a:defRPr sz="2400" b="1" baseline="0">
                <a:latin typeface="+mn-lt"/>
              </a:defRPr>
            </a:lvl1pPr>
            <a:lvl2pPr marL="671513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2pPr>
            <a:lvl3pPr marL="942975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3pPr>
            <a:lvl4pPr marL="1214438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4pPr>
            <a:lvl5pPr marL="1485900" indent="-271462">
              <a:lnSpc>
                <a:spcPts val="3449"/>
              </a:lnSpc>
              <a:spcBef>
                <a:spcPts val="0"/>
              </a:spcBef>
              <a:defRPr sz="2849">
                <a:latin typeface="+mn-lt"/>
              </a:defRPr>
            </a:lvl5pPr>
          </a:lstStyle>
          <a:p>
            <a:pPr lvl="0"/>
            <a:r>
              <a:rPr lang="de-DE" dirty="0"/>
              <a:t>Grafik, Datum</a:t>
            </a:r>
          </a:p>
        </p:txBody>
      </p:sp>
    </p:spTree>
    <p:extLst>
      <p:ext uri="{BB962C8B-B14F-4D97-AF65-F5344CB8AC3E}">
        <p14:creationId xmlns:p14="http://schemas.microsoft.com/office/powerpoint/2010/main" val="2243547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6111819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1861"/>
            <a:ext cx="18287992" cy="10283276"/>
          </a:xfrm>
          <a:prstGeom prst="rect">
            <a:avLst/>
          </a:prstGeom>
        </p:spPr>
      </p:pic>
      <p:sp>
        <p:nvSpPr>
          <p:cNvPr id="6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0224260" y="824020"/>
            <a:ext cx="7237338" cy="8636878"/>
          </a:xfrm>
          <a:prstGeom prst="round2DiagRect">
            <a:avLst>
              <a:gd name="adj1" fmla="val 13513"/>
              <a:gd name="adj2" fmla="val 0"/>
            </a:avLst>
          </a:prstGeom>
          <a:solidFill>
            <a:schemeClr val="bg1"/>
          </a:solidFill>
        </p:spPr>
        <p:txBody>
          <a:bodyPr lIns="252000" tIns="180000" rIns="252000">
            <a:normAutofit/>
          </a:bodyPr>
          <a:lstStyle>
            <a:lvl1pPr marL="0" indent="0" rtl="0">
              <a:buClr>
                <a:schemeClr val="bg1"/>
              </a:buClr>
              <a:buFont typeface="Wingdings" panose="05000000000000000000" pitchFamily="2" charset="2"/>
              <a:buNone/>
              <a:defRPr sz="3749" b="1">
                <a:solidFill>
                  <a:schemeClr val="accent1"/>
                </a:solidFill>
              </a:defRPr>
            </a:lvl1pPr>
            <a:lvl2pPr marL="646168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2pPr>
            <a:lvl3pPr marL="1122293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3pPr>
            <a:lvl4pPr marL="1598416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4pPr>
            <a:lvl5pPr marL="2074541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Inhaltsverzeichnis</a:t>
            </a:r>
            <a:endParaRPr lang="en-GB" dirty="0"/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7"/>
          </p:nvPr>
        </p:nvSpPr>
        <p:spPr>
          <a:xfrm>
            <a:off x="10764390" y="2118821"/>
            <a:ext cx="6157486" cy="6804224"/>
          </a:xfrm>
        </p:spPr>
        <p:txBody>
          <a:bodyPr lIns="0" rIns="0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514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5" y="1404001"/>
            <a:ext cx="16670525" cy="486000"/>
          </a:xfrm>
        </p:spPr>
        <p:txBody>
          <a:bodyPr>
            <a:noAutofit/>
          </a:bodyPr>
          <a:lstStyle>
            <a:lvl1pPr marL="0" indent="0">
              <a:lnSpc>
                <a:spcPts val="4105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8968" indent="-322987">
              <a:lnSpc>
                <a:spcPts val="4105"/>
              </a:lnSpc>
              <a:spcBef>
                <a:spcPts val="0"/>
              </a:spcBef>
              <a:defRPr sz="3449">
                <a:latin typeface="+mn-lt"/>
              </a:defRPr>
            </a:lvl2pPr>
            <a:lvl3pPr marL="1121956" indent="-322987">
              <a:lnSpc>
                <a:spcPts val="4105"/>
              </a:lnSpc>
              <a:spcBef>
                <a:spcPts val="0"/>
              </a:spcBef>
              <a:defRPr sz="3449">
                <a:latin typeface="+mn-lt"/>
              </a:defRPr>
            </a:lvl3pPr>
            <a:lvl4pPr marL="1444944" indent="-322987">
              <a:lnSpc>
                <a:spcPts val="4105"/>
              </a:lnSpc>
              <a:spcBef>
                <a:spcPts val="0"/>
              </a:spcBef>
              <a:defRPr sz="3449">
                <a:latin typeface="+mn-lt"/>
              </a:defRPr>
            </a:lvl4pPr>
            <a:lvl5pPr marL="1767930" indent="-322987">
              <a:lnSpc>
                <a:spcPts val="4105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de-DE" dirty="0"/>
              <a:t>Dicke Überschrift mit 20pt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5" y="2"/>
            <a:ext cx="14294360" cy="134006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749" b="1"/>
            </a:lvl1pPr>
            <a:lvl2pPr marL="645975" indent="0">
              <a:buNone/>
              <a:defRPr sz="3749" b="1"/>
            </a:lvl2pPr>
            <a:lvl3pPr marL="1121956" indent="0">
              <a:buNone/>
              <a:defRPr sz="3749" b="1"/>
            </a:lvl3pPr>
            <a:lvl4pPr marL="1597936" indent="0">
              <a:buNone/>
              <a:defRPr sz="3749" b="1"/>
            </a:lvl4pPr>
            <a:lvl5pPr marL="2073919" indent="0">
              <a:buNone/>
              <a:defRPr sz="3749" b="1"/>
            </a:lvl5pPr>
          </a:lstStyle>
          <a:p>
            <a:pPr lvl="0"/>
            <a:r>
              <a:rPr lang="de-DE" dirty="0"/>
              <a:t>1-spaltige Überschrift</a:t>
            </a:r>
            <a:br>
              <a:rPr lang="de-DE" dirty="0"/>
            </a:br>
            <a:r>
              <a:rPr lang="de-DE" dirty="0"/>
              <a:t>2-spaltige Überschrift mit 25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8776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3340972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1"/>
            <a:ext cx="18288000" cy="10287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GB" dirty="0" err="1"/>
              <a:t>Flächiges</a:t>
            </a:r>
            <a:r>
              <a:rPr lang="en-GB" dirty="0"/>
              <a:t> </a:t>
            </a:r>
            <a:r>
              <a:rPr lang="en-GB" dirty="0" err="1"/>
              <a:t>Bild</a:t>
            </a:r>
            <a:endParaRPr lang="en-GB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0224260" y="824020"/>
            <a:ext cx="7237338" cy="8636878"/>
          </a:xfrm>
          <a:prstGeom prst="round2DiagRect">
            <a:avLst>
              <a:gd name="adj1" fmla="val 13513"/>
              <a:gd name="adj2" fmla="val 0"/>
            </a:avLst>
          </a:prstGeom>
          <a:solidFill>
            <a:schemeClr val="bg1"/>
          </a:solidFill>
        </p:spPr>
        <p:txBody>
          <a:bodyPr lIns="252000" tIns="180000" rIns="252000">
            <a:normAutofit/>
          </a:bodyPr>
          <a:lstStyle>
            <a:lvl1pPr marL="0" indent="0" rtl="0">
              <a:buClr>
                <a:schemeClr val="bg1"/>
              </a:buClr>
              <a:buFont typeface="Wingdings" panose="05000000000000000000" pitchFamily="2" charset="2"/>
              <a:buNone/>
              <a:defRPr sz="3749" b="1">
                <a:solidFill>
                  <a:schemeClr val="accent1"/>
                </a:solidFill>
              </a:defRPr>
            </a:lvl1pPr>
            <a:lvl2pPr marL="646168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2pPr>
            <a:lvl3pPr marL="1122293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3pPr>
            <a:lvl4pPr marL="1598416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4pPr>
            <a:lvl5pPr marL="2074541" indent="0">
              <a:buClr>
                <a:schemeClr val="bg1"/>
              </a:buClr>
              <a:buFont typeface="Wingdings" panose="05000000000000000000" pitchFamily="2" charset="2"/>
              <a:buNone/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Inhaltsverzeichnis</a:t>
            </a:r>
            <a:endParaRPr lang="en-GB" dirty="0"/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7"/>
          </p:nvPr>
        </p:nvSpPr>
        <p:spPr>
          <a:xfrm>
            <a:off x="10764390" y="2118821"/>
            <a:ext cx="6157486" cy="6804224"/>
          </a:xfrm>
        </p:spPr>
        <p:txBody>
          <a:bodyPr lIns="0" rIns="0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509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95547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429436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</p:spTree>
    <p:extLst>
      <p:ext uri="{BB962C8B-B14F-4D97-AF65-F5344CB8AC3E}">
        <p14:creationId xmlns:p14="http://schemas.microsoft.com/office/powerpoint/2010/main" val="149765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inhal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318563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1" y="2700001"/>
            <a:ext cx="9072000" cy="621000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>
          <a:xfrm>
            <a:off x="9216001" y="2700001"/>
            <a:ext cx="9072000" cy="621000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DB26F2E-6C23-4C08-9A94-A5CC9F33AE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</p:spTree>
    <p:extLst>
      <p:ext uri="{BB962C8B-B14F-4D97-AF65-F5344CB8AC3E}">
        <p14:creationId xmlns:p14="http://schemas.microsoft.com/office/powerpoint/2010/main" val="23721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804619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790577" y="2700001"/>
            <a:ext cx="8136000" cy="6210001"/>
          </a:xfrm>
        </p:spPr>
        <p:txBody>
          <a:bodyPr>
            <a:normAutofit/>
          </a:bodyPr>
          <a:lstStyle>
            <a:lvl1pPr marL="449882" indent="-449882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9360000" y="2700001"/>
            <a:ext cx="8101598" cy="6210001"/>
          </a:xfrm>
        </p:spPr>
        <p:txBody>
          <a:bodyPr>
            <a:normAutofit/>
          </a:bodyPr>
          <a:lstStyle>
            <a:lvl1pPr marL="449882" indent="-449882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marL="79920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marL="1122293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marL="1445378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marL="1768461" indent="-323085"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10489EE5-31C1-41D3-9A38-3DEBFE6B35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</p:spTree>
    <p:extLst>
      <p:ext uri="{BB962C8B-B14F-4D97-AF65-F5344CB8AC3E}">
        <p14:creationId xmlns:p14="http://schemas.microsoft.com/office/powerpoint/2010/main" val="3676038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076761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669597" cy="6210001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>
            <a:lvl1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FD9BD27-1F87-4142-ABA6-72E9C4A32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</p:spTree>
    <p:extLst>
      <p:ext uri="{BB962C8B-B14F-4D97-AF65-F5344CB8AC3E}">
        <p14:creationId xmlns:p14="http://schemas.microsoft.com/office/powerpoint/2010/main" val="277970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folie 2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760916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iagonal liegende Ecken des Rechtecks abrunden 7"/>
          <p:cNvSpPr/>
          <p:nvPr userDrawn="1"/>
        </p:nvSpPr>
        <p:spPr>
          <a:xfrm>
            <a:off x="9360000" y="2700001"/>
            <a:ext cx="8101598" cy="6210001"/>
          </a:xfrm>
          <a:prstGeom prst="round2DiagRect">
            <a:avLst>
              <a:gd name="adj1" fmla="val 6982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237" tIns="81619" rIns="163237" bIns="81619" rtlCol="0" anchor="ctr"/>
          <a:lstStyle/>
          <a:p>
            <a:pPr algn="ctr" rtl="0"/>
            <a:endParaRPr lang="en-GB" sz="2699" dirty="0"/>
          </a:p>
        </p:txBody>
      </p:sp>
      <p:sp>
        <p:nvSpPr>
          <p:cNvPr id="2" name="Diagonal liegende Ecken des Rechtecks abrunden 1"/>
          <p:cNvSpPr/>
          <p:nvPr userDrawn="1"/>
        </p:nvSpPr>
        <p:spPr>
          <a:xfrm>
            <a:off x="791072" y="2700001"/>
            <a:ext cx="8136000" cy="6210001"/>
          </a:xfrm>
          <a:prstGeom prst="round2DiagRect">
            <a:avLst>
              <a:gd name="adj1" fmla="val 6982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237" tIns="81619" rIns="163237" bIns="81619" rtlCol="0" anchor="ctr"/>
          <a:lstStyle/>
          <a:p>
            <a:pPr algn="ctr" rtl="0"/>
            <a:endParaRPr lang="en-GB" sz="2699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1152000" y="2970001"/>
            <a:ext cx="7415999" cy="5670000"/>
          </a:xfrm>
        </p:spPr>
        <p:txBody>
          <a:bodyPr>
            <a:normAutofit/>
          </a:bodyPr>
          <a:lstStyle>
            <a:lvl1pPr marL="449882" indent="-449882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1pPr>
            <a:lvl2pPr marL="799208" indent="-323085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2pPr>
            <a:lvl3pPr marL="1122293" indent="-323085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3pPr>
            <a:lvl4pPr marL="1445378" indent="-323085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4pPr>
            <a:lvl5pPr marL="1768461" indent="-323085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9720001" y="2970001"/>
            <a:ext cx="7415999" cy="5670000"/>
          </a:xfrm>
        </p:spPr>
        <p:txBody>
          <a:bodyPr>
            <a:normAutofit/>
          </a:bodyPr>
          <a:lstStyle>
            <a:lvl1pPr marL="449882" indent="-449882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1pPr>
            <a:lvl2pPr marL="799208" indent="-323085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2pPr>
            <a:lvl3pPr marL="1122293" indent="-323085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3pPr>
            <a:lvl4pPr marL="1445378" indent="-323085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4pPr>
            <a:lvl5pPr marL="1768461" indent="-323085" rtl="0">
              <a:lnSpc>
                <a:spcPts val="4106"/>
              </a:lnSpc>
              <a:spcBef>
                <a:spcPts val="0"/>
              </a:spcBef>
              <a:buClr>
                <a:schemeClr val="bg1"/>
              </a:buClr>
              <a:defRPr sz="2999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8191BFA1-471A-468F-AEB8-6E9EA2BF88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</p:spTree>
    <p:extLst>
      <p:ext uri="{BB962C8B-B14F-4D97-AF65-F5344CB8AC3E}">
        <p14:creationId xmlns:p14="http://schemas.microsoft.com/office/powerpoint/2010/main" val="104331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oleObject" Target="../embeddings/oleObject17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18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0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86224686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01" imgH="298" progId="TCLayout.ActiveDocument.1">
                  <p:embed/>
                </p:oleObj>
              </mc:Choice>
              <mc:Fallback>
                <p:oleObj name="Diapositiva de think-cell" r:id="rId18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92001" y="2700001"/>
            <a:ext cx="16669597" cy="6210001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20" name="Textfeld 19"/>
          <p:cNvSpPr txBox="1"/>
          <p:nvPr/>
        </p:nvSpPr>
        <p:spPr>
          <a:xfrm>
            <a:off x="800204" y="9678954"/>
            <a:ext cx="9640108" cy="608046"/>
          </a:xfrm>
          <a:prstGeom prst="rect">
            <a:avLst/>
          </a:prstGeom>
        </p:spPr>
        <p:txBody>
          <a:bodyPr wrap="square" lIns="0" tIns="0" rIns="163237" bIns="0" rtlCol="0" anchor="ctr">
            <a:noAutofit/>
          </a:bodyPr>
          <a:lstStyle/>
          <a:p>
            <a:pPr marL="0" marR="0" indent="0" algn="l" defTabSz="16324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50" b="1" dirty="0">
                <a:solidFill>
                  <a:schemeClr val="bg1"/>
                </a:solidFill>
                <a:latin typeface="+mj-lt"/>
              </a:rPr>
              <a:t>Target</a:t>
            </a:r>
            <a:r>
              <a:rPr lang="en-GB" sz="1650" b="1" baseline="0" dirty="0">
                <a:solidFill>
                  <a:schemeClr val="bg1"/>
                </a:solidFill>
                <a:latin typeface="+mj-lt"/>
              </a:rPr>
              <a:t> Groups</a:t>
            </a:r>
            <a:endParaRPr lang="en-GB" sz="165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5625563" y="9678955"/>
            <a:ext cx="1836035" cy="606182"/>
          </a:xfrm>
          <a:prstGeom prst="rect">
            <a:avLst/>
          </a:prstGeom>
          <a:noFill/>
        </p:spPr>
        <p:txBody>
          <a:bodyPr wrap="square" lIns="163237" tIns="81619" rIns="0" bIns="81619" rtlCol="0" anchor="ctr" anchorCtr="0">
            <a:noAutofit/>
          </a:bodyPr>
          <a:lstStyle/>
          <a:p>
            <a:pPr marL="0" marR="0" indent="0" algn="r" defTabSz="16324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A19CC-7836-44C0-AEF3-DBBA492307BB}" type="slidenum">
              <a:rPr lang="en-GB" sz="1650" b="0" smtClean="0">
                <a:solidFill>
                  <a:schemeClr val="bg1"/>
                </a:solidFill>
                <a:latin typeface="+mj-lt"/>
              </a:rPr>
              <a:pPr marL="0" marR="0" indent="0" algn="r" defTabSz="16324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GB" sz="1650" b="0" dirty="0">
              <a:solidFill>
                <a:schemeClr val="bg1"/>
              </a:solidFill>
            </a:endParaRPr>
          </a:p>
        </p:txBody>
      </p:sp>
      <p:pic>
        <p:nvPicPr>
          <p:cNvPr id="4" name="Google Shape;66;p15">
            <a:extLst>
              <a:ext uri="{FF2B5EF4-FFF2-40B4-BE49-F238E27FC236}">
                <a16:creationId xmlns:a16="http://schemas.microsoft.com/office/drawing/2014/main" id="{4B7A7A9A-7482-89E7-0085-FBB7D14B77DF}"/>
              </a:ext>
            </a:extLst>
          </p:cNvPr>
          <p:cNvPicPr preferRelativeResize="0"/>
          <p:nvPr userDrawn="1"/>
        </p:nvPicPr>
        <p:blipFill>
          <a:blip r:embed="rId20">
            <a:alphaModFix/>
          </a:blip>
          <a:stretch>
            <a:fillRect/>
          </a:stretch>
        </p:blipFill>
        <p:spPr>
          <a:xfrm>
            <a:off x="14221225" y="284085"/>
            <a:ext cx="3429307" cy="54783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65;p15">
            <a:extLst>
              <a:ext uri="{FF2B5EF4-FFF2-40B4-BE49-F238E27FC236}">
                <a16:creationId xmlns:a16="http://schemas.microsoft.com/office/drawing/2014/main" id="{81FFB6A4-3CDA-9797-8D72-E030668FC6E4}"/>
              </a:ext>
            </a:extLst>
          </p:cNvPr>
          <p:cNvPicPr preferRelativeResize="0"/>
          <p:nvPr userDrawn="1"/>
        </p:nvPicPr>
        <p:blipFill>
          <a:blip r:embed="rId21">
            <a:alphaModFix/>
          </a:blip>
          <a:stretch>
            <a:fillRect/>
          </a:stretch>
        </p:blipFill>
        <p:spPr>
          <a:xfrm>
            <a:off x="15949641" y="9607945"/>
            <a:ext cx="1748601" cy="647922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40412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marL="0" marR="0" indent="0" algn="l" defTabSz="1632426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sz="3899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23085" indent="-323085" algn="l" defTabSz="1632426" rtl="0" eaLnBrk="1" latinLnBrk="0" hangingPunct="1">
        <a:spcBef>
          <a:spcPct val="20000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1pPr>
      <a:lvl2pPr marL="969253" indent="-323085" algn="l" defTabSz="1632426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2pPr>
      <a:lvl3pPr marL="1445378" indent="-323085" algn="l" defTabSz="1632426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3pPr>
      <a:lvl4pPr marL="1921501" indent="-323085" algn="l" defTabSz="1632426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4pPr>
      <a:lvl5pPr marL="2397626" indent="-323085" algn="l" defTabSz="1632426" rtl="0" eaLnBrk="1" latinLnBrk="0" hangingPunct="1">
        <a:spcBef>
          <a:spcPct val="20000"/>
        </a:spcBef>
        <a:buClr>
          <a:schemeClr val="accent1"/>
        </a:buClr>
        <a:buSzPct val="70000"/>
        <a:buFont typeface="Wingdings" panose="05000000000000000000" pitchFamily="2" charset="2"/>
        <a:buChar char="§"/>
        <a:defRPr sz="2999" kern="1200">
          <a:solidFill>
            <a:srgbClr val="4C4C4C"/>
          </a:solidFill>
          <a:latin typeface="+mj-lt"/>
          <a:ea typeface="+mn-ea"/>
          <a:cs typeface="Arial" panose="020B0604020202020204" pitchFamily="34" charset="0"/>
        </a:defRPr>
      </a:lvl5pPr>
      <a:lvl6pPr marL="4489172" indent="-408106" algn="l" defTabSz="16324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305385" indent="-408106" algn="l" defTabSz="16324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121598" indent="-408106" algn="l" defTabSz="16324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6937810" indent="-408106" algn="l" defTabSz="16324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1pPr>
      <a:lvl2pPr marL="816213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2pPr>
      <a:lvl3pPr marL="1632426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3pPr>
      <a:lvl4pPr marL="2448640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4pPr>
      <a:lvl5pPr marL="3264853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5pPr>
      <a:lvl6pPr marL="4081065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6pPr>
      <a:lvl7pPr marL="4897278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7pPr>
      <a:lvl8pPr marL="5713491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8pPr>
      <a:lvl9pPr marL="6529704" algn="l" defTabSz="1632426" rtl="0" eaLnBrk="1" latinLnBrk="0" hangingPunct="1">
        <a:defRPr sz="3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9BC9C93-B5A3-1569-F63B-C74420EA6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21125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454" imgH="454" progId="TCLayout.ActiveDocument.1">
                  <p:embed/>
                </p:oleObj>
              </mc:Choice>
              <mc:Fallback>
                <p:oleObj name="Diapositiva de think-cell" r:id="rId18" imgW="454" imgH="45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BC9C93-B5A3-1569-F63B-C74420EA6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527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C3AECE-BE98-69AD-880D-228362E985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C3AECE-BE98-69AD-880D-228362E98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6">
            <a:extLst>
              <a:ext uri="{FF2B5EF4-FFF2-40B4-BE49-F238E27FC236}">
                <a16:creationId xmlns:a16="http://schemas.microsoft.com/office/drawing/2014/main" id="{6BBAF6C7-1F85-2733-EF3A-9939467E0E1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419"/>
          <a:stretch/>
        </p:blipFill>
        <p:spPr>
          <a:xfrm>
            <a:off x="-4573" y="-1"/>
            <a:ext cx="18289267" cy="10287001"/>
          </a:xfrm>
          <a:prstGeom prst="rect">
            <a:avLst/>
          </a:prstGeom>
        </p:spPr>
      </p:pic>
      <p:sp>
        <p:nvSpPr>
          <p:cNvPr id="4" name="Rechteck 6">
            <a:extLst>
              <a:ext uri="{FF2B5EF4-FFF2-40B4-BE49-F238E27FC236}">
                <a16:creationId xmlns:a16="http://schemas.microsoft.com/office/drawing/2014/main" id="{576B4E36-E28E-67AE-7171-75E509D56152}"/>
              </a:ext>
            </a:extLst>
          </p:cNvPr>
          <p:cNvSpPr/>
          <p:nvPr/>
        </p:nvSpPr>
        <p:spPr>
          <a:xfrm>
            <a:off x="-4572" y="-1"/>
            <a:ext cx="18289264" cy="10287001"/>
          </a:xfrm>
          <a:prstGeom prst="rect">
            <a:avLst/>
          </a:prstGeom>
          <a:solidFill>
            <a:srgbClr val="000000">
              <a:alpha val="40000"/>
            </a:srgbClr>
          </a:solidFill>
        </p:spPr>
        <p:txBody>
          <a:bodyPr wrap="square" lIns="1079750" tIns="0" bIns="269938" anchor="ctr" anchorCtr="0">
            <a:noAutofit/>
          </a:bodyPr>
          <a:lstStyle/>
          <a:p>
            <a:endParaRPr lang="en-US" sz="5999" noProof="1">
              <a:solidFill>
                <a:schemeClr val="bg1"/>
              </a:solidFill>
              <a:latin typeface="Bebas Neue" panose="020B0606020202050201" pitchFamily="34" charset="0"/>
            </a:endParaRP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5877FC00-37F6-374B-6925-237CF661F7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75298" y="284085"/>
            <a:ext cx="2267727" cy="1075382"/>
          </a:xfrm>
          <a:prstGeom prst="rect">
            <a:avLst/>
          </a:prstGeom>
        </p:spPr>
      </p:pic>
      <p:sp>
        <p:nvSpPr>
          <p:cNvPr id="9" name="Titel 6">
            <a:extLst>
              <a:ext uri="{FF2B5EF4-FFF2-40B4-BE49-F238E27FC236}">
                <a16:creationId xmlns:a16="http://schemas.microsoft.com/office/drawing/2014/main" id="{798F5ABF-7D4F-940B-BE3B-7C6C23E76C8D}"/>
              </a:ext>
            </a:extLst>
          </p:cNvPr>
          <p:cNvSpPr txBox="1">
            <a:spLocks/>
          </p:cNvSpPr>
          <p:nvPr/>
        </p:nvSpPr>
        <p:spPr>
          <a:xfrm>
            <a:off x="3308" y="5899409"/>
            <a:ext cx="18281385" cy="2339276"/>
          </a:xfrm>
          <a:prstGeom prst="rect">
            <a:avLst/>
          </a:prstGeom>
          <a:solidFill>
            <a:schemeClr val="accent1">
              <a:lumMod val="60000"/>
              <a:lumOff val="40000"/>
              <a:alpha val="60000"/>
            </a:schemeClr>
          </a:solidFill>
        </p:spPr>
        <p:txBody>
          <a:bodyPr vert="horz" lIns="863800" tIns="269938" rIns="539875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71326">
              <a:defRPr/>
            </a:pPr>
            <a:r>
              <a:rPr lang="en-US" sz="8098" b="1" dirty="0">
                <a:latin typeface="+mn-lt"/>
                <a:cs typeface="Calibri Light" panose="020F0302020204030204" pitchFamily="34" charset="0"/>
              </a:rPr>
              <a:t>Practice target group</a:t>
            </a:r>
          </a:p>
        </p:txBody>
      </p:sp>
    </p:spTree>
    <p:extLst>
      <p:ext uri="{BB962C8B-B14F-4D97-AF65-F5344CB8AC3E}">
        <p14:creationId xmlns:p14="http://schemas.microsoft.com/office/powerpoint/2010/main" val="421063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01" imgH="298" progId="TCLayout.ActiveDocument.1">
                  <p:embed/>
                </p:oleObj>
              </mc:Choice>
              <mc:Fallback>
                <p:oleObj name="Diapositiva de think-cell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163237" tIns="81619" rIns="163237" bIns="81619" rtlCol="0" anchor="ctr" anchorCtr="0">
            <a:noAutofit/>
          </a:bodyPr>
          <a:lstStyle/>
          <a:p>
            <a:r>
              <a:rPr lang="en-GB" sz="3600" dirty="0">
                <a:solidFill>
                  <a:srgbClr val="333089"/>
                </a:solidFill>
                <a:latin typeface="Titillium Web Bold"/>
                <a:cs typeface="+mn-cs"/>
              </a:rPr>
              <a:t>Case study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1C9E90C-633C-4996-97F5-0C14C211D0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4094" y="1579930"/>
            <a:ext cx="16664498" cy="486000"/>
          </a:xfrm>
        </p:spPr>
        <p:txBody>
          <a:bodyPr>
            <a:noAutofit/>
          </a:bodyPr>
          <a:lstStyle>
            <a:lvl1pPr marL="0" indent="0">
              <a:lnSpc>
                <a:spcPts val="2738"/>
              </a:lnSpc>
              <a:spcBef>
                <a:spcPts val="0"/>
              </a:spcBef>
              <a:buNone/>
              <a:defRPr sz="2000" b="1" baseline="0">
                <a:latin typeface="+mn-lt"/>
              </a:defRPr>
            </a:lvl1pPr>
            <a:lvl2pPr marL="532912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2pPr>
            <a:lvl3pPr marL="748345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3pPr>
            <a:lvl4pPr marL="963778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4pPr>
            <a:lvl5pPr marL="1179210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5pPr>
          </a:lstStyle>
          <a:p>
            <a:r>
              <a:rPr lang="en-GB" sz="3000" dirty="0"/>
              <a:t>Practice with your own value chain</a:t>
            </a:r>
          </a:p>
        </p:txBody>
      </p:sp>
      <p:sp>
        <p:nvSpPr>
          <p:cNvPr id="11" name="Abgerundetes Rechteck 20">
            <a:extLst>
              <a:ext uri="{FF2B5EF4-FFF2-40B4-BE49-F238E27FC236}">
                <a16:creationId xmlns:a16="http://schemas.microsoft.com/office/drawing/2014/main" id="{65508CD6-0620-4898-AE34-5B3E269A0073}"/>
              </a:ext>
            </a:extLst>
          </p:cNvPr>
          <p:cNvSpPr/>
          <p:nvPr/>
        </p:nvSpPr>
        <p:spPr>
          <a:xfrm>
            <a:off x="505040" y="2443827"/>
            <a:ext cx="17154135" cy="1225300"/>
          </a:xfrm>
          <a:prstGeom prst="roundRect">
            <a:avLst/>
          </a:prstGeom>
          <a:solidFill>
            <a:schemeClr val="accent1"/>
          </a:solidFill>
          <a:ln w="28575" cap="flat" cmpd="sng" algn="ctr">
            <a:noFill/>
            <a:prstDash val="solid"/>
          </a:ln>
          <a:effectLst/>
        </p:spPr>
        <p:txBody>
          <a:bodyPr lIns="215950" tIns="0" rIns="215950" bIns="0" rtlCol="0" anchor="ctr"/>
          <a:lstStyle/>
          <a:p>
            <a:pPr defTabSz="914400">
              <a:spcAft>
                <a:spcPts val="600"/>
              </a:spcAft>
            </a:pPr>
            <a:r>
              <a:rPr lang="en-GB" altLang="de-DE" sz="3600" dirty="0">
                <a:solidFill>
                  <a:schemeClr val="bg1"/>
                </a:solidFill>
              </a:rPr>
              <a:t>Search for </a:t>
            </a:r>
            <a:r>
              <a:rPr lang="en-GB" altLang="de-DE" sz="3600" b="1" dirty="0">
                <a:solidFill>
                  <a:schemeClr val="bg1"/>
                </a:solidFill>
              </a:rPr>
              <a:t>existing supply chains / value chains in your value creation system </a:t>
            </a:r>
            <a:r>
              <a:rPr lang="en-GB" altLang="de-DE" sz="3600" dirty="0">
                <a:solidFill>
                  <a:schemeClr val="bg1"/>
                </a:solidFill>
              </a:rPr>
              <a:t>to get a better understanding of the organisations and activities involved! </a:t>
            </a:r>
            <a:endParaRPr lang="en-GB" altLang="de-DE" sz="3600" b="1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B0BA79B-7BB2-49E0-8385-4AE4ED590FDE}"/>
              </a:ext>
            </a:extLst>
          </p:cNvPr>
          <p:cNvSpPr/>
          <p:nvPr/>
        </p:nvSpPr>
        <p:spPr>
          <a:xfrm>
            <a:off x="719898" y="3883611"/>
            <a:ext cx="10691829" cy="3256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663" indent="-685663" defTabSz="1371326">
              <a:spcAft>
                <a:spcPts val="450"/>
              </a:spcAft>
              <a:buFontTx/>
              <a:buAutoNum type="arabi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What is the set of activities to solve the problem in the addressed application field(s)? </a:t>
            </a:r>
          </a:p>
          <a:p>
            <a:pPr marL="685663" indent="-685663" defTabSz="1371326">
              <a:spcAft>
                <a:spcPts val="450"/>
              </a:spcAft>
              <a:buFontTx/>
              <a:buAutoNum type="arabi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Who is involved in the value creation? </a:t>
            </a:r>
          </a:p>
          <a:p>
            <a:pPr marL="1501876" lvl="1" indent="-685663" defTabSz="1371326">
              <a:spcAft>
                <a:spcPts val="450"/>
              </a:spcAft>
              <a:buFont typeface="+mj-lt"/>
              <a:buAutoNum type="alphaL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List relevant stakeholders and connect the value creation system </a:t>
            </a:r>
            <a:r>
              <a:rPr lang="en-GB" sz="2699" u="sng" dirty="0">
                <a:solidFill>
                  <a:srgbClr val="4B4B4B"/>
                </a:solidFill>
                <a:latin typeface="Calibri"/>
              </a:rPr>
              <a:t>or</a:t>
            </a:r>
          </a:p>
          <a:p>
            <a:pPr marL="1501876" lvl="1" indent="-685663" defTabSz="1371326">
              <a:spcAft>
                <a:spcPts val="450"/>
              </a:spcAft>
              <a:buFont typeface="+mj-lt"/>
              <a:buAutoNum type="alphaL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Search for existing value creation systems online and adapt.</a:t>
            </a:r>
          </a:p>
          <a:p>
            <a:pPr marL="685663" indent="-685663" defTabSz="1371326">
              <a:spcAft>
                <a:spcPts val="450"/>
              </a:spcAft>
              <a:buFontTx/>
              <a:buAutoNum type="arabi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Position yourself. Identify target groups, competitors and partners.</a:t>
            </a:r>
          </a:p>
        </p:txBody>
      </p:sp>
    </p:spTree>
    <p:extLst>
      <p:ext uri="{BB962C8B-B14F-4D97-AF65-F5344CB8AC3E}">
        <p14:creationId xmlns:p14="http://schemas.microsoft.com/office/powerpoint/2010/main" val="1290931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7" y="424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01" imgH="298" progId="TCLayout.ActiveDocument.1">
                  <p:embed/>
                </p:oleObj>
              </mc:Choice>
              <mc:Fallback>
                <p:oleObj name="Diapositiva de think-cell" r:id="rId5" imgW="301" imgH="29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687" y="424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938541" y="2291489"/>
            <a:ext cx="16520051" cy="44613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3308" y="1862"/>
            <a:ext cx="238038" cy="2380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37118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799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escribe the value creation system you solution is involved in and define your role in i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3600" dirty="0">
                <a:solidFill>
                  <a:srgbClr val="333089"/>
                </a:solidFill>
                <a:latin typeface="Titillium Web Bold"/>
              </a:rPr>
              <a:t>Value Chain</a:t>
            </a:r>
          </a:p>
        </p:txBody>
      </p:sp>
      <p:sp>
        <p:nvSpPr>
          <p:cNvPr id="2" name="Abgerundetes Rechteck 1"/>
          <p:cNvSpPr/>
          <p:nvPr/>
        </p:nvSpPr>
        <p:spPr>
          <a:xfrm>
            <a:off x="1193998" y="3767108"/>
            <a:ext cx="2285174" cy="1160164"/>
          </a:xfrm>
          <a:prstGeom prst="roundRect">
            <a:avLst/>
          </a:prstGeom>
          <a:solidFill>
            <a:srgbClr val="478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w material producer</a:t>
            </a:r>
          </a:p>
        </p:txBody>
      </p:sp>
      <p:sp>
        <p:nvSpPr>
          <p:cNvPr id="4" name="Pfeil nach rechts 3"/>
          <p:cNvSpPr/>
          <p:nvPr/>
        </p:nvSpPr>
        <p:spPr>
          <a:xfrm>
            <a:off x="3624297" y="4105301"/>
            <a:ext cx="429192" cy="483776"/>
          </a:xfrm>
          <a:prstGeom prst="rightArrow">
            <a:avLst/>
          </a:prstGeom>
          <a:solidFill>
            <a:srgbClr val="4786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10678796" y="3755842"/>
            <a:ext cx="2414078" cy="1182697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iginal Equipment Manufacturer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14070055" y="3755842"/>
            <a:ext cx="2700710" cy="1182697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d-User</a:t>
            </a:r>
          </a:p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Target Group C)</a:t>
            </a:r>
          </a:p>
        </p:txBody>
      </p:sp>
      <p:sp>
        <p:nvSpPr>
          <p:cNvPr id="12" name="Pfeil nach rechts 11"/>
          <p:cNvSpPr/>
          <p:nvPr/>
        </p:nvSpPr>
        <p:spPr>
          <a:xfrm>
            <a:off x="10024578" y="4105301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938538" y="6861836"/>
            <a:ext cx="8205033" cy="3039105"/>
          </a:xfrm>
          <a:prstGeom prst="rect">
            <a:avLst/>
          </a:prstGeom>
          <a:solidFill>
            <a:schemeClr val="accent1">
              <a:lumMod val="75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1845" tIns="53980" rIns="431845" bIns="53980" rtlCol="0" anchor="ctr"/>
          <a:lstStyle/>
          <a:p>
            <a:pPr marL="0" marR="0" lvl="0" indent="0" algn="l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Describe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the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stakeholder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system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nd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your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ole</a:t>
            </a: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</p:txBody>
      </p:sp>
      <p:sp>
        <p:nvSpPr>
          <p:cNvPr id="15" name="Rechteck 14"/>
          <p:cNvSpPr/>
          <p:nvPr/>
        </p:nvSpPr>
        <p:spPr bwMode="gray">
          <a:xfrm>
            <a:off x="9253558" y="6861836"/>
            <a:ext cx="8205033" cy="3039105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1845" tIns="53980" rIns="431845" bIns="53980" rtlCol="0" anchor="ctr"/>
          <a:lstStyle/>
          <a:p>
            <a:pPr marL="0" marR="0" lvl="0" indent="0" algn="l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Describe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the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ustomer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system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nd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its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drivers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,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barriers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nd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quirements</a:t>
            </a: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113043" y="3755842"/>
            <a:ext cx="2414078" cy="1182697"/>
          </a:xfrm>
          <a:prstGeom prst="roundRect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y role</a:t>
            </a:r>
          </a:p>
        </p:txBody>
      </p:sp>
      <p:sp>
        <p:nvSpPr>
          <p:cNvPr id="18" name="Pfeil nach rechts 17"/>
          <p:cNvSpPr/>
          <p:nvPr/>
        </p:nvSpPr>
        <p:spPr>
          <a:xfrm>
            <a:off x="6762213" y="4105301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feil nach rechts 18"/>
          <p:cNvSpPr/>
          <p:nvPr/>
        </p:nvSpPr>
        <p:spPr>
          <a:xfrm>
            <a:off x="13336191" y="4105301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4123983" y="5195637"/>
            <a:ext cx="2403138" cy="1160164"/>
          </a:xfrm>
          <a:prstGeom prst="roundRect">
            <a:avLst/>
          </a:prstGeom>
          <a:solidFill>
            <a:srgbClr val="478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provider</a:t>
            </a:r>
          </a:p>
        </p:txBody>
      </p:sp>
      <p:sp>
        <p:nvSpPr>
          <p:cNvPr id="21" name="Abgerundetes Rechteck 20"/>
          <p:cNvSpPr/>
          <p:nvPr/>
        </p:nvSpPr>
        <p:spPr>
          <a:xfrm>
            <a:off x="14814088" y="5410759"/>
            <a:ext cx="1670048" cy="116016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provider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7493508" y="2486691"/>
            <a:ext cx="2403138" cy="116016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Group A</a:t>
            </a:r>
          </a:p>
        </p:txBody>
      </p:sp>
      <p:sp>
        <p:nvSpPr>
          <p:cNvPr id="23" name="Pfeil nach rechts 22"/>
          <p:cNvSpPr/>
          <p:nvPr/>
        </p:nvSpPr>
        <p:spPr>
          <a:xfrm rot="19902701">
            <a:off x="6688230" y="3154124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Pfeil nach rechts 23"/>
          <p:cNvSpPr/>
          <p:nvPr/>
        </p:nvSpPr>
        <p:spPr>
          <a:xfrm rot="16200000">
            <a:off x="5074809" y="4801974"/>
            <a:ext cx="490548" cy="483776"/>
          </a:xfrm>
          <a:prstGeom prst="rightArrow">
            <a:avLst/>
          </a:prstGeom>
          <a:solidFill>
            <a:srgbClr val="4786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Pfeil nach rechts 24"/>
          <p:cNvSpPr/>
          <p:nvPr/>
        </p:nvSpPr>
        <p:spPr>
          <a:xfrm rot="16200000">
            <a:off x="15515601" y="4903894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hteckiger Pfeil 25"/>
          <p:cNvSpPr/>
          <p:nvPr/>
        </p:nvSpPr>
        <p:spPr>
          <a:xfrm rot="5400000">
            <a:off x="12417911" y="545786"/>
            <a:ext cx="826922" cy="5375225"/>
          </a:xfrm>
          <a:prstGeom prst="bentArrow">
            <a:avLst>
              <a:gd name="adj1" fmla="val 27322"/>
              <a:gd name="adj2" fmla="val 25554"/>
              <a:gd name="adj3" fmla="val 35024"/>
              <a:gd name="adj4" fmla="val 26478"/>
            </a:avLst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180-Grad-Pfeil 30"/>
          <p:cNvSpPr/>
          <p:nvPr/>
        </p:nvSpPr>
        <p:spPr>
          <a:xfrm flipV="1">
            <a:off x="8483193" y="4705526"/>
            <a:ext cx="6230368" cy="1167220"/>
          </a:xfrm>
          <a:prstGeom prst="uturn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7482568" y="3755842"/>
            <a:ext cx="2414078" cy="1182697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Group B</a:t>
            </a:r>
          </a:p>
        </p:txBody>
      </p:sp>
    </p:spTree>
    <p:extLst>
      <p:ext uri="{BB962C8B-B14F-4D97-AF65-F5344CB8AC3E}">
        <p14:creationId xmlns:p14="http://schemas.microsoft.com/office/powerpoint/2010/main" val="214097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7" y="424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7" y="424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scrib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imary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/>
              <a:t>group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interests</a:t>
            </a:r>
            <a:r>
              <a:rPr lang="de-DE" dirty="0"/>
              <a:t> </a:t>
            </a:r>
            <a:r>
              <a:rPr lang="de-DE" dirty="0" err="1"/>
              <a:t>regarding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 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sz="3600" dirty="0">
                <a:solidFill>
                  <a:srgbClr val="333089"/>
                </a:solidFill>
                <a:latin typeface="Titillium Web Bold"/>
              </a:rPr>
              <a:t>Target Groups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560319" y="2587203"/>
            <a:ext cx="17148320" cy="2137718"/>
            <a:chOff x="495298" y="1424304"/>
            <a:chExt cx="8312064" cy="1501200"/>
          </a:xfrm>
        </p:grpSpPr>
        <p:sp>
          <p:nvSpPr>
            <p:cNvPr id="9" name="Rechteck 8"/>
            <p:cNvSpPr/>
            <p:nvPr/>
          </p:nvSpPr>
          <p:spPr>
            <a:xfrm>
              <a:off x="495298" y="1424304"/>
              <a:ext cx="1759657" cy="1501200"/>
            </a:xfrm>
            <a:prstGeom prst="rect">
              <a:avLst/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arget </a:t>
              </a:r>
              <a:r>
                <a:rPr kumimoji="0" lang="de-DE" sz="24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roup</a:t>
              </a: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A</a:t>
              </a:r>
            </a:p>
          </p:txBody>
        </p:sp>
        <p:sp>
          <p:nvSpPr>
            <p:cNvPr id="10" name="Rechteck 9"/>
            <p:cNvSpPr/>
            <p:nvPr/>
          </p:nvSpPr>
          <p:spPr>
            <a:xfrm>
              <a:off x="2254957" y="1424304"/>
              <a:ext cx="2592288" cy="15012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4847244" y="1424304"/>
              <a:ext cx="3960118" cy="1501200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23883" rIns="0" rtlCol="0" anchor="ctr"/>
            <a:lstStyle/>
            <a:p>
              <a:pPr marL="261860" marR="0" lvl="0" indent="-261860" algn="l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scription of the target group and their needs and </a:t>
              </a:r>
              <a:b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allenges regarding your solution</a:t>
              </a: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560319" y="4929505"/>
            <a:ext cx="17148320" cy="2137718"/>
            <a:chOff x="495298" y="1424304"/>
            <a:chExt cx="8312064" cy="1501200"/>
          </a:xfrm>
        </p:grpSpPr>
        <p:sp>
          <p:nvSpPr>
            <p:cNvPr id="21" name="Rechteck 20"/>
            <p:cNvSpPr/>
            <p:nvPr/>
          </p:nvSpPr>
          <p:spPr>
            <a:xfrm>
              <a:off x="495298" y="1424304"/>
              <a:ext cx="1759657" cy="1501200"/>
            </a:xfrm>
            <a:prstGeom prst="rect">
              <a:avLst/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arget </a:t>
              </a:r>
              <a:r>
                <a:rPr kumimoji="0" lang="de-DE" sz="24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roup</a:t>
              </a: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B</a:t>
              </a:r>
            </a:p>
          </p:txBody>
        </p:sp>
        <p:sp>
          <p:nvSpPr>
            <p:cNvPr id="22" name="Rechteck 21"/>
            <p:cNvSpPr/>
            <p:nvPr/>
          </p:nvSpPr>
          <p:spPr>
            <a:xfrm>
              <a:off x="2254957" y="1424304"/>
              <a:ext cx="2592288" cy="15012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847244" y="1424304"/>
              <a:ext cx="3960118" cy="1501200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23883" rIns="0" rtlCol="0" anchor="ctr"/>
            <a:lstStyle/>
            <a:p>
              <a:pPr marL="261860" marR="0" lvl="0" indent="-261860" algn="l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scription of the target group and their needs and </a:t>
              </a:r>
              <a:b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allenges regarding your solution</a:t>
              </a:r>
            </a:p>
          </p:txBody>
        </p:sp>
      </p:grpSp>
      <p:grpSp>
        <p:nvGrpSpPr>
          <p:cNvPr id="25" name="Gruppieren 24"/>
          <p:cNvGrpSpPr/>
          <p:nvPr/>
        </p:nvGrpSpPr>
        <p:grpSpPr>
          <a:xfrm>
            <a:off x="560319" y="7230038"/>
            <a:ext cx="17148320" cy="2137718"/>
            <a:chOff x="495298" y="1424304"/>
            <a:chExt cx="8312064" cy="1501200"/>
          </a:xfrm>
        </p:grpSpPr>
        <p:sp>
          <p:nvSpPr>
            <p:cNvPr id="26" name="Rechteck 25"/>
            <p:cNvSpPr/>
            <p:nvPr/>
          </p:nvSpPr>
          <p:spPr>
            <a:xfrm>
              <a:off x="495298" y="1424304"/>
              <a:ext cx="1759657" cy="1501200"/>
            </a:xfrm>
            <a:prstGeom prst="rect">
              <a:avLst/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arget </a:t>
              </a:r>
              <a:r>
                <a:rPr kumimoji="0" lang="de-DE" sz="24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roup</a:t>
              </a: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C</a:t>
              </a: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254957" y="1424304"/>
              <a:ext cx="2592288" cy="15012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847244" y="1424304"/>
              <a:ext cx="3960118" cy="1501200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23883" rIns="0" rtlCol="0" anchor="ctr"/>
            <a:lstStyle/>
            <a:p>
              <a:pPr marL="261860" marR="0" lvl="0" indent="-261860" algn="l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scription of the target group and their needs and </a:t>
              </a:r>
              <a:b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allenges regarding your solu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946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ekmqIWJUY.UDNazjkv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ALLGEMEIN">
  <a:themeElements>
    <a:clrScheme name="Artineo">
      <a:dk1>
        <a:srgbClr val="4B4B4B"/>
      </a:dk1>
      <a:lt1>
        <a:srgbClr val="FFFFFF"/>
      </a:lt1>
      <a:dk2>
        <a:srgbClr val="878787"/>
      </a:dk2>
      <a:lt2>
        <a:srgbClr val="FFFFFF"/>
      </a:lt2>
      <a:accent1>
        <a:srgbClr val="0A73B4"/>
      </a:accent1>
      <a:accent2>
        <a:srgbClr val="37AADC"/>
      </a:accent2>
      <a:accent3>
        <a:srgbClr val="B4C800"/>
      </a:accent3>
      <a:accent4>
        <a:srgbClr val="FFDC05"/>
      </a:accent4>
      <a:accent5>
        <a:srgbClr val="FF7D00"/>
      </a:accent5>
      <a:accent6>
        <a:srgbClr val="B40000"/>
      </a:accent6>
      <a:hlink>
        <a:srgbClr val="0A73B4"/>
      </a:hlink>
      <a:folHlink>
        <a:srgbClr val="37AADC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5</TotalTime>
  <Words>221</Words>
  <Application>Microsoft Office PowerPoint</Application>
  <PresentationFormat>Personalizado</PresentationFormat>
  <Paragraphs>34</Paragraphs>
  <Slides>4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3" baseType="lpstr">
      <vt:lpstr>Aptos</vt:lpstr>
      <vt:lpstr>Titillium Web Bold</vt:lpstr>
      <vt:lpstr>Wingdings</vt:lpstr>
      <vt:lpstr>Bebas Neue</vt:lpstr>
      <vt:lpstr>Arial</vt:lpstr>
      <vt:lpstr>Calibri</vt:lpstr>
      <vt:lpstr>4_ALLGEMEIN</vt:lpstr>
      <vt:lpstr>1_Office Them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Up</dc:title>
  <dc:creator>Paulina Nowotka</dc:creator>
  <cp:lastModifiedBy>Vikesh Chugani</cp:lastModifiedBy>
  <cp:revision>18</cp:revision>
  <dcterms:created xsi:type="dcterms:W3CDTF">2006-08-16T00:00:00Z</dcterms:created>
  <dcterms:modified xsi:type="dcterms:W3CDTF">2024-08-26T15:36:18Z</dcterms:modified>
  <dc:identifier>DAGIHpOa55U</dc:identifier>
</cp:coreProperties>
</file>